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56" r:id="rId5"/>
    <p:sldId id="264" r:id="rId6"/>
    <p:sldId id="263" r:id="rId7"/>
    <p:sldId id="262" r:id="rId8"/>
    <p:sldId id="261" r:id="rId9"/>
    <p:sldId id="260" r:id="rId10"/>
    <p:sldId id="268" r:id="rId11"/>
    <p:sldId id="271" r:id="rId12"/>
    <p:sldId id="272" r:id="rId13"/>
    <p:sldId id="273" r:id="rId14"/>
  </p:sldIdLst>
  <p:sldSz cx="12192000" cy="6858000"/>
  <p:notesSz cx="6858000" cy="9144000"/>
  <p:custDataLst>
    <p:tags r:id="rId17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06" userDrawn="1">
          <p15:clr>
            <a:srgbClr val="A4A3A4"/>
          </p15:clr>
        </p15:guide>
        <p15:guide id="2" pos="717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rsen, Lene (LTH038)" initials="TL(" lastIdx="3" clrIdx="0">
    <p:extLst>
      <p:ext uri="{19B8F6BF-5375-455C-9EA6-DF929625EA0E}">
        <p15:presenceInfo xmlns:p15="http://schemas.microsoft.com/office/powerpoint/2012/main" userId="S-1-5-21-87712913-679880029-1868970003-324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4F5"/>
    <a:srgbClr val="F4F9BF"/>
    <a:srgbClr val="F4F1EB"/>
    <a:srgbClr val="E8F7FF"/>
    <a:srgbClr val="001E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3969" autoAdjust="0"/>
  </p:normalViewPr>
  <p:slideViewPr>
    <p:cSldViewPr snapToGrid="0" snapToObjects="1">
      <p:cViewPr varScale="1">
        <p:scale>
          <a:sx n="64" d="100"/>
          <a:sy n="64" d="100"/>
        </p:scale>
        <p:origin x="318" y="108"/>
      </p:cViewPr>
      <p:guideLst>
        <p:guide pos="506"/>
        <p:guide pos="7174"/>
        <p:guide orient="horz" pos="2160"/>
      </p:guideLst>
    </p:cSldViewPr>
  </p:slideViewPr>
  <p:outlineViewPr>
    <p:cViewPr>
      <p:scale>
        <a:sx n="33" d="100"/>
        <a:sy n="33" d="100"/>
      </p:scale>
      <p:origin x="0" y="-41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07EBFA-2F76-40E0-9D2A-0D3C879B4958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8F6A3-431D-43D9-8660-8EFB11689F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002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6331E-A800-4306-AF5C-BFC9068FBA1E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4E237-93BB-4448-BA22-9861A6F3CE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32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6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4"/>
            <a:ext cx="10953600" cy="28212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4DCD78-F3AA-4ED8-9F36-911B0878938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3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2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7CCD400-A084-42DF-7EF0-1C9869BB74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8" y="5653088"/>
            <a:ext cx="2546350" cy="3937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505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56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led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8" t="32863" r="29895" b="41287"/>
          <a:stretch/>
        </p:blipFill>
        <p:spPr>
          <a:xfrm>
            <a:off x="9954441" y="322120"/>
            <a:ext cx="1523998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30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39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9" name="LogoOne_bmkArt" descr="Logo for Beredskabsstyrelsen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78"/>
          <a:stretch/>
        </p:blipFill>
        <p:spPr>
          <a:xfrm>
            <a:off x="9963342" y="307024"/>
            <a:ext cx="1515097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73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81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5"/>
            <a:ext cx="11002962" cy="2821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612D5D-CF25-4D46-BA5C-92765F937E6F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7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18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635" y="217512"/>
            <a:ext cx="971592" cy="68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7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514470" y="1585993"/>
            <a:ext cx="546153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423817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88D16F-188D-4FFC-B5BB-F57298219086}"/>
              </a:ext>
            </a:extLst>
          </p:cNvPr>
          <p:cNvSpPr txBox="1"/>
          <p:nvPr userDrawn="1"/>
        </p:nvSpPr>
        <p:spPr>
          <a:xfrm>
            <a:off x="922336" y="6337176"/>
            <a:ext cx="920750" cy="235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505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6"/>
          </p:nvPr>
        </p:nvSpPr>
        <p:spPr>
          <a:xfrm>
            <a:off x="514469" y="1585993"/>
            <a:ext cx="11160123" cy="720001"/>
          </a:xfrm>
        </p:spPr>
        <p:txBody>
          <a:bodyPr/>
          <a:lstStyle>
            <a:lvl1pPr>
              <a:buNone/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endParaRPr lang="da-DK" dirty="0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88D16F-188D-4FFC-B5BB-F57298219086}"/>
              </a:ext>
            </a:extLst>
          </p:cNvPr>
          <p:cNvSpPr txBox="1"/>
          <p:nvPr userDrawn="1"/>
        </p:nvSpPr>
        <p:spPr>
          <a:xfrm>
            <a:off x="922336" y="6337176"/>
            <a:ext cx="920750" cy="235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90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468000"/>
            <a:ext cx="5340349" cy="565399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5340350" cy="72000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20135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58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1584001"/>
            <a:ext cx="5340350" cy="453799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1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0905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1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11160125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6036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835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/>
          </p:cNvSpPr>
          <p:nvPr userDrawn="1"/>
        </p:nvSpPr>
        <p:spPr bwMode="gray">
          <a:xfrm>
            <a:off x="503238" y="3213223"/>
            <a:ext cx="2417762" cy="1057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For at se 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1.</a:t>
            </a:r>
            <a:r>
              <a:rPr lang="da-DK" sz="900" noProof="1">
                <a:latin typeface="+mn-lt"/>
                <a:cs typeface="Arial" charset="0"/>
              </a:rPr>
              <a:t> Klik på </a:t>
            </a:r>
            <a:r>
              <a:rPr lang="da-DK" sz="900" b="1" noProof="1">
                <a:latin typeface="+mn-lt"/>
                <a:cs typeface="Arial" charset="0"/>
              </a:rPr>
              <a:t>Vis</a:t>
            </a:r>
            <a:endParaRPr lang="da-DK" sz="900" noProof="1">
              <a:latin typeface="+mn-lt"/>
              <a:cs typeface="Arial" charset="0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2. </a:t>
            </a:r>
            <a:r>
              <a:rPr lang="da-DK" sz="900" noProof="1">
                <a:latin typeface="+mn-lt"/>
                <a:cs typeface="Arial" charset="0"/>
              </a:rPr>
              <a:t>Vælg </a:t>
            </a:r>
            <a:r>
              <a:rPr lang="da-DK" sz="900" b="1" noProof="1">
                <a:latin typeface="+mn-lt"/>
                <a:cs typeface="Arial" charset="0"/>
              </a:rPr>
              <a:t>Gitterlinjer</a:t>
            </a:r>
            <a:r>
              <a:rPr lang="da-DK" sz="900" noProof="1">
                <a:latin typeface="+mn-lt"/>
                <a:cs typeface="Arial" charset="0"/>
              </a:rPr>
              <a:t> og/eller </a:t>
            </a:r>
            <a:r>
              <a:rPr lang="da-DK" sz="900" b="1" noProof="1">
                <a:latin typeface="+mn-lt"/>
                <a:cs typeface="Arial" charset="0"/>
              </a:rPr>
              <a:t>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</a:rPr>
              <a:t>Tip</a:t>
            </a:r>
            <a:r>
              <a:rPr lang="da-DK" sz="900" noProof="1">
                <a:latin typeface="+mn-lt"/>
              </a:rPr>
              <a:t>: Alt + F9 for hurtig visning af hjælpelinjer</a:t>
            </a:r>
          </a:p>
        </p:txBody>
      </p:sp>
      <p:sp>
        <p:nvSpPr>
          <p:cNvPr id="5" name="Text Box 48"/>
          <p:cNvSpPr txBox="1">
            <a:spLocks noChangeArrowheads="1"/>
          </p:cNvSpPr>
          <p:nvPr userDrawn="1"/>
        </p:nvSpPr>
        <p:spPr bwMode="auto">
          <a:xfrm>
            <a:off x="503238" y="1592386"/>
            <a:ext cx="2417762" cy="1431925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b="1" noProof="1">
                <a:latin typeface="+mn-lt"/>
              </a:rPr>
              <a:t>For at justere side nummerering, dato og sidefod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altLang="da-DK" sz="900" b="1" noProof="1">
                <a:latin typeface="+mn-lt"/>
              </a:rPr>
              <a:t>1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Indsæt</a:t>
            </a:r>
            <a:r>
              <a:rPr lang="da-DK" altLang="da-DK" sz="900" noProof="1">
                <a:latin typeface="+mn-lt"/>
              </a:rPr>
              <a:t> i topmenuen 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Sidehoved og Sidefod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sz="900" noProof="1">
                <a:latin typeface="+mn-lt"/>
              </a:rPr>
              <a:t>Vælg </a:t>
            </a:r>
            <a:r>
              <a:rPr lang="da-DK" sz="900" b="1" noProof="1">
                <a:latin typeface="+mn-lt"/>
              </a:rPr>
              <a:t>Anvend på alle </a:t>
            </a:r>
            <a:r>
              <a:rPr lang="da-DK" sz="900" noProof="1">
                <a:latin typeface="+mn-lt"/>
              </a:rPr>
              <a:t>eller </a:t>
            </a:r>
            <a:r>
              <a:rPr lang="da-DK" sz="900" b="1" noProof="1">
                <a:latin typeface="+mn-lt"/>
              </a:rPr>
              <a:t>Anvend</a:t>
            </a:r>
            <a:r>
              <a:rPr lang="da-DK" sz="900" noProof="1">
                <a:latin typeface="+mn-lt"/>
              </a:rPr>
              <a:t> hvis det kun skal være på et enkelt slid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noProof="1">
              <a:latin typeface="+mn-lt"/>
            </a:endParaRPr>
          </a:p>
        </p:txBody>
      </p:sp>
      <p:sp>
        <p:nvSpPr>
          <p:cNvPr id="6" name="AutoShape 4"/>
          <p:cNvSpPr>
            <a:spLocks/>
          </p:cNvSpPr>
          <p:nvPr userDrawn="1"/>
        </p:nvSpPr>
        <p:spPr bwMode="gray">
          <a:xfrm>
            <a:off x="3438525" y="1590675"/>
            <a:ext cx="1738313" cy="539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Indsæt billede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På layouts med billedholder klik på ikon og vælg </a:t>
            </a:r>
            <a:r>
              <a:rPr lang="da-DK" sz="900" b="1" noProof="1">
                <a:latin typeface="+mn-lt"/>
                <a:cs typeface="Arial" charset="0"/>
              </a:rPr>
              <a:t>Indsæt</a:t>
            </a:r>
            <a:endParaRPr lang="da-DK" sz="900" b="1" noProof="1">
              <a:latin typeface="+mn-lt"/>
            </a:endParaRPr>
          </a:p>
        </p:txBody>
      </p:sp>
      <p:pic>
        <p:nvPicPr>
          <p:cNvPr id="7" name="Billede 1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19725" y="1808163"/>
            <a:ext cx="2444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2"/>
          <p:cNvSpPr txBox="1">
            <a:spLocks noChangeArrowheads="1"/>
          </p:cNvSpPr>
          <p:nvPr userDrawn="1"/>
        </p:nvSpPr>
        <p:spPr bwMode="auto">
          <a:xfrm>
            <a:off x="3289300" y="2401888"/>
            <a:ext cx="2032000" cy="2308225"/>
          </a:xfrm>
          <a:prstGeom prst="rect">
            <a:avLst/>
          </a:prstGeom>
          <a:noFill/>
          <a:ln>
            <a:noFill/>
          </a:ln>
        </p:spPr>
        <p:txBody>
          <a:bodyPr lIns="14400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200" b="1" noProof="1">
                <a:latin typeface="+mn-lt"/>
                <a:cs typeface="+mn-cs"/>
              </a:rPr>
              <a:t>Beskær billede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1. </a:t>
            </a:r>
            <a:r>
              <a:rPr lang="da-DK" sz="900" noProof="1">
                <a:latin typeface="+mn-lt"/>
                <a:cs typeface="+mn-cs"/>
              </a:rPr>
              <a:t>Klik </a:t>
            </a:r>
            <a:r>
              <a:rPr lang="da-DK" sz="900" b="1" noProof="1">
                <a:latin typeface="+mn-lt"/>
                <a:cs typeface="+mn-cs"/>
              </a:rPr>
              <a:t>Beskær</a:t>
            </a:r>
            <a:r>
              <a:rPr lang="da-DK" sz="900" noProof="1">
                <a:latin typeface="+mn-lt"/>
                <a:cs typeface="+mn-cs"/>
              </a:rPr>
              <a:t> for at ændre billedets fokus/størrelse</a:t>
            </a:r>
            <a:endParaRPr lang="da-DK" altLang="da-DK" sz="900" noProof="1">
              <a:latin typeface="+mn-lt"/>
            </a:endParaRPr>
          </a:p>
          <a:p>
            <a:pPr eaLnBrk="1" fontAlgn="auto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Ønsker du at skalere billedet, så hold </a:t>
            </a:r>
            <a:r>
              <a:rPr lang="da-DK" altLang="da-DK" sz="900" b="1" noProof="1">
                <a:latin typeface="+mn-lt"/>
              </a:rPr>
              <a:t>SHIFT</a:t>
            </a:r>
            <a:r>
              <a:rPr lang="da-DK" altLang="da-DK" sz="900" noProof="1">
                <a:latin typeface="+mn-lt"/>
              </a:rPr>
              <a:t>-knappen nede, mens der trækkes i billedets hjørner</a:t>
            </a: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3. </a:t>
            </a:r>
            <a:r>
              <a:rPr lang="da-DK" sz="900" noProof="1">
                <a:latin typeface="+mn-lt"/>
                <a:cs typeface="+mn-cs"/>
              </a:rPr>
              <a:t>Højreklik på billedet </a:t>
            </a:r>
            <a:br>
              <a:rPr lang="da-DK" sz="900" noProof="1">
                <a:latin typeface="+mn-lt"/>
                <a:cs typeface="+mn-cs"/>
              </a:rPr>
            </a:br>
            <a:r>
              <a:rPr lang="da-DK" sz="900" noProof="1">
                <a:latin typeface="+mn-lt"/>
                <a:cs typeface="+mn-cs"/>
              </a:rPr>
              <a:t>og vælg </a:t>
            </a:r>
            <a:r>
              <a:rPr lang="da-DK" sz="900" b="1" noProof="1">
                <a:latin typeface="+mn-lt"/>
                <a:cs typeface="+mn-cs"/>
              </a:rPr>
              <a:t>Placer bagerst</a:t>
            </a:r>
            <a:endParaRPr lang="da-DK" sz="900" noProof="1">
              <a:latin typeface="+mn-lt"/>
              <a:cs typeface="+mn-cs"/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Tips</a:t>
            </a:r>
            <a:r>
              <a:rPr lang="da-DK" sz="900" noProof="1">
                <a:latin typeface="+mn-lt"/>
                <a:cs typeface="+mn-cs"/>
              </a:rPr>
              <a:t>: Hvis du sletter billedet, og indsætter et nyt, kan billedet lægge sig foran tekst og grafik, hvis dette sker, skal du vælge billedet, højreklik og vælg </a:t>
            </a:r>
            <a:r>
              <a:rPr lang="da-DK" sz="900" b="1" noProof="1">
                <a:latin typeface="+mn-lt"/>
                <a:cs typeface="+mn-cs"/>
              </a:rPr>
              <a:t>Placer bagest</a:t>
            </a:r>
            <a:endParaRPr lang="da-DK" altLang="da-DK" sz="900" noProof="1">
              <a:latin typeface="+mn-lt"/>
            </a:endParaRPr>
          </a:p>
        </p:txBody>
      </p:sp>
      <p:pic>
        <p:nvPicPr>
          <p:cNvPr id="9" name="Billede 1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7663" y="3317875"/>
            <a:ext cx="3381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4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0363" y="3732213"/>
            <a:ext cx="26193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514800" y="468000"/>
            <a:ext cx="8137525" cy="6969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a-DK" dirty="0">
                <a:solidFill>
                  <a:srgbClr val="FF0000"/>
                </a:solidFill>
              </a:rPr>
              <a:t>Brugerguide - slet før anvendelse</a:t>
            </a:r>
          </a:p>
        </p:txBody>
      </p:sp>
      <p:pic>
        <p:nvPicPr>
          <p:cNvPr id="14" name="Billede 1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67663" y="3286125"/>
            <a:ext cx="5492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6391275" y="1582738"/>
            <a:ext cx="1927225" cy="2586037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50" b="1" noProof="1">
                <a:latin typeface="+mn-lt"/>
              </a:rPr>
              <a:t>Brug teksttypografier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TAB</a:t>
            </a:r>
            <a:r>
              <a:rPr lang="en-GB" altLang="da-DK" sz="900" noProof="1">
                <a:latin typeface="+mn-lt"/>
              </a:rPr>
              <a:t> for at gå frem i tekst-niveauer. Klik ENTER, derefter TAB for at skifte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fra et niveau til et næste.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Niveau 1 = Tekst 16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2 = Tekst 14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3-9 = Tekst 12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GB" altLang="da-DK" sz="900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altLang="da-DK" sz="900" noProof="1">
                <a:latin typeface="+mn-lt"/>
              </a:rPr>
              <a:t>For at gå tilbage i tekst-niveauer,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900" noProof="1">
                <a:latin typeface="+mn-lt"/>
              </a:rPr>
              <a:t>Alternativt kan </a:t>
            </a:r>
            <a:br>
              <a:rPr lang="en-GB" sz="900" noProof="1">
                <a:latin typeface="+mn-lt"/>
              </a:rPr>
            </a:br>
            <a:r>
              <a:rPr lang="en-GB" sz="900" b="1" noProof="1">
                <a:latin typeface="+mn-lt"/>
              </a:rPr>
              <a:t>Forøg</a:t>
            </a:r>
            <a:r>
              <a:rPr lang="en-GB" sz="900" noProof="1">
                <a:latin typeface="+mn-lt"/>
              </a:rPr>
              <a:t> og </a:t>
            </a:r>
            <a:r>
              <a:rPr lang="en-GB" sz="900" b="1" noProof="1">
                <a:latin typeface="+mn-lt"/>
              </a:rPr>
              <a:t>Formindsk </a:t>
            </a:r>
            <a:br>
              <a:rPr lang="en-GB" sz="900" b="1" noProof="1">
                <a:latin typeface="+mn-lt"/>
              </a:rPr>
            </a:br>
            <a:r>
              <a:rPr lang="en-GB" sz="900" noProof="1">
                <a:latin typeface="+mn-lt"/>
              </a:rPr>
              <a:t>listeniveau brug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700" noProof="1">
              <a:latin typeface="+mn-lt"/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9608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6693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8" y="1584000"/>
            <a:ext cx="11004062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504000"/>
            <a:ext cx="11004062" cy="72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max to </a:t>
            </a:r>
            <a:r>
              <a:rPr lang="en-US" dirty="0" err="1"/>
              <a:t>linjer</a:t>
            </a:r>
            <a:endParaRPr lang="en-GB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515939" y="6324615"/>
            <a:ext cx="690770" cy="23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7B5E1AC-B4B8-4A09-BF1D-E5EC57C6C611}" type="slidenum">
              <a:rPr lang="en-US" sz="900" smtClean="0">
                <a:solidFill>
                  <a:schemeClr val="accent1"/>
                </a:solidFill>
              </a:rPr>
              <a:t>‹#›</a:t>
            </a:fld>
            <a:endParaRPr lang="en-GB" sz="900" dirty="0">
              <a:solidFill>
                <a:schemeClr val="accent1"/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933" y="6237289"/>
            <a:ext cx="1505130" cy="287336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258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0" r:id="rId3"/>
    <p:sldLayoutId id="2147483675" r:id="rId4"/>
    <p:sldLayoutId id="2147483670" r:id="rId5"/>
    <p:sldLayoutId id="2147483671" r:id="rId6"/>
    <p:sldLayoutId id="2147483674" r:id="rId7"/>
    <p:sldLayoutId id="2147483672" r:id="rId8"/>
    <p:sldLayoutId id="2147483673" r:id="rId9"/>
    <p:sldLayoutId id="2147483663" r:id="rId10"/>
    <p:sldLayoutId id="2147483664" r:id="rId1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3060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b="0" kern="1200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Wingdings 2" panose="05020102010507070707" pitchFamily="18" charset="2"/>
        </a:defRPr>
      </a:lvl1pPr>
      <a:lvl2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4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504" userDrawn="1">
          <p15:clr>
            <a:srgbClr val="F26B43"/>
          </p15:clr>
        </p15:guide>
        <p15:guide id="5" pos="3689" userDrawn="1">
          <p15:clr>
            <a:srgbClr val="F26B43"/>
          </p15:clr>
        </p15:guide>
        <p15:guide id="6" orient="horz" pos="997" userDrawn="1">
          <p15:clr>
            <a:srgbClr val="F26B43"/>
          </p15:clr>
        </p15:guide>
        <p15:guide id="7" orient="horz" pos="3855" userDrawn="1">
          <p15:clr>
            <a:srgbClr val="F26B43"/>
          </p15:clr>
        </p15:guide>
        <p15:guide id="8" pos="3991" userDrawn="1">
          <p15:clr>
            <a:srgbClr val="F26B43"/>
          </p15:clr>
        </p15:guide>
        <p15:guide id="9" orient="horz" pos="999" userDrawn="1">
          <p15:clr>
            <a:srgbClr val="F26B43"/>
          </p15:clr>
        </p15:guide>
        <p15:guide id="10" orient="horz" pos="3856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3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ikkerhedsnet.dk/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3" descr="Logo: CFB – Center for Beredskabskommunikation">
            <a:extLst>
              <a:ext uri="{FF2B5EF4-FFF2-40B4-BE49-F238E27FC236}">
                <a16:creationId xmlns:a16="http://schemas.microsoft.com/office/drawing/2014/main" id="{E1B71B34-B890-BCCC-7DFA-8615010D22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8" name="Billede 6" descr="Logo: Beredskabsstyrelsen">
            <a:extLst>
              <a:ext uri="{FF2B5EF4-FFF2-40B4-BE49-F238E27FC236}">
                <a16:creationId xmlns:a16="http://schemas.microsoft.com/office/drawing/2014/main" id="{54443EBE-44EF-85FF-F32E-C3682C9594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614028" y="2068653"/>
            <a:ext cx="11002961" cy="1487587"/>
          </a:xfrm>
        </p:spPr>
        <p:txBody>
          <a:bodyPr/>
          <a:lstStyle/>
          <a:p>
            <a:pPr algn="ctr"/>
            <a:r>
              <a:rPr lang="en-US" sz="4800" dirty="0" err="1"/>
              <a:t>Fælles</a:t>
            </a:r>
            <a:r>
              <a:rPr lang="en-US" sz="4800" dirty="0"/>
              <a:t> </a:t>
            </a:r>
            <a:r>
              <a:rPr lang="en-US" sz="4800" dirty="0" err="1"/>
              <a:t>radiosprog</a:t>
            </a:r>
            <a:r>
              <a:rPr lang="en-US" sz="4800" dirty="0"/>
              <a:t> </a:t>
            </a:r>
            <a:r>
              <a:rPr lang="en-US" sz="4800" dirty="0" err="1"/>
              <a:t>og</a:t>
            </a:r>
            <a:r>
              <a:rPr lang="en-US" sz="4800" dirty="0"/>
              <a:t> </a:t>
            </a:r>
            <a:br>
              <a:rPr lang="en-US" sz="4800" dirty="0"/>
            </a:br>
            <a:r>
              <a:rPr lang="en-US" sz="4800" dirty="0"/>
              <a:t>god </a:t>
            </a:r>
            <a:r>
              <a:rPr lang="en-US" sz="4800" dirty="0" err="1"/>
              <a:t>radiodisciplin</a:t>
            </a:r>
            <a:endParaRPr lang="da-DK" sz="4800" dirty="0"/>
          </a:p>
        </p:txBody>
      </p:sp>
      <p:sp>
        <p:nvSpPr>
          <p:cNvPr id="4" name="Undertitel 3">
            <a:extLst>
              <a:ext uri="{FF2B5EF4-FFF2-40B4-BE49-F238E27FC236}">
                <a16:creationId xmlns:a16="http://schemas.microsoft.com/office/drawing/2014/main" id="{D8FE51F8-2360-1F0B-73EF-C35682861C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85015" y="4699087"/>
            <a:ext cx="3231602" cy="1472524"/>
          </a:xfrm>
        </p:spPr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diodiscipli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kspeditionsor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kaldsprocedure (syntak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CAO-alfabet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dtale af t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leteknik</a:t>
            </a:r>
            <a:endParaRPr lang="en-US" dirty="0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20269D8-F6DD-D9DE-2A42-235BEECDDA3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8" y="6427361"/>
            <a:ext cx="1657636" cy="28212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CD6E90-65D4-484F-B20D-D4841E7747A2}" type="datetime2">
              <a:rPr kumimoji="0" lang="da-DK" sz="10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563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CB80B9C9-8E0B-789E-FD17-4C0DB26AF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Undervisningsmateriale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2C9CBD3-570B-2D96-786A-7CD7A4BB9DA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4469" y="1585993"/>
            <a:ext cx="11160123" cy="2746164"/>
          </a:xfrm>
        </p:spPr>
        <p:txBody>
          <a:bodyPr/>
          <a:lstStyle/>
          <a:p>
            <a:pPr marL="0" indent="0"/>
            <a:r>
              <a:rPr lang="da-DK" dirty="0"/>
              <a:t>På </a:t>
            </a:r>
            <a:r>
              <a:rPr lang="da-DK" dirty="0" err="1"/>
              <a:t>CFB’s</a:t>
            </a:r>
            <a:r>
              <a:rPr lang="da-DK" dirty="0"/>
              <a:t> hjemmeside er der undervisningsmateriale tilgængelig, som I kan anvende i jeres undervisning med radiosprog.</a:t>
            </a:r>
          </a:p>
          <a:p>
            <a:pPr marL="0" indent="0">
              <a:spcBef>
                <a:spcPts val="2000"/>
              </a:spcBef>
            </a:pPr>
            <a:r>
              <a:rPr lang="da-DK" dirty="0"/>
              <a:t>Der findes bl.a. øvelseskataloger, radioøvelser samt sænke slagskibe. </a:t>
            </a:r>
          </a:p>
          <a:p>
            <a:pPr marL="0" indent="0">
              <a:spcBef>
                <a:spcPts val="2000"/>
              </a:spcBef>
            </a:pPr>
            <a:r>
              <a:rPr lang="da-DK" dirty="0"/>
              <a:t>Derudover findes en undervisningsfilm om fælles radiosprog.</a:t>
            </a:r>
          </a:p>
          <a:p>
            <a:pPr marL="0" indent="0">
              <a:spcBef>
                <a:spcPts val="2000"/>
              </a:spcBef>
            </a:pPr>
            <a:r>
              <a:rPr lang="da-DK" dirty="0">
                <a:solidFill>
                  <a:srgbClr val="FF0000"/>
                </a:solidFill>
                <a:hlinkClick r:id="rId2" tooltip="www.sikkerhedsnet.dk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ikkerhedsnet.d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3747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4">
            <a:extLst>
              <a:ext uri="{FF2B5EF4-FFF2-40B4-BE49-F238E27FC236}">
                <a16:creationId xmlns:a16="http://schemas.microsoft.com/office/drawing/2014/main" id="{D3A4DF90-BF61-6DA9-3BF6-5FE29CB3A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adiodisciplin</a:t>
            </a: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32DCB70-D3FB-9DAA-4BAF-10C04A3338C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4469" y="1585994"/>
            <a:ext cx="9229137" cy="2866086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Tænk i de fire T’er, når du kommunikerer over radio:</a:t>
            </a:r>
          </a:p>
          <a:p>
            <a:pPr>
              <a:spcBef>
                <a:spcPts val="2200"/>
              </a:spcBef>
              <a:buFont typeface="+mj-lt"/>
              <a:buAutoNum type="arabicPeriod"/>
            </a:pPr>
            <a:r>
              <a:rPr lang="da-DK" b="1" u="sng" dirty="0"/>
              <a:t>T</a:t>
            </a:r>
            <a:r>
              <a:rPr lang="da-DK" b="1" dirty="0"/>
              <a:t>ænk: 	</a:t>
            </a:r>
            <a:r>
              <a:rPr lang="da-DK" dirty="0"/>
              <a:t>Gør dig overvejelser om meldingen</a:t>
            </a:r>
          </a:p>
          <a:p>
            <a:pPr>
              <a:spcBef>
                <a:spcPts val="1800"/>
              </a:spcBef>
              <a:buFont typeface="+mj-lt"/>
              <a:buAutoNum type="arabicPeriod"/>
            </a:pPr>
            <a:r>
              <a:rPr lang="da-DK" b="1" u="sng" dirty="0"/>
              <a:t>T</a:t>
            </a:r>
            <a:r>
              <a:rPr lang="da-DK" b="1" dirty="0"/>
              <a:t>ast: 		</a:t>
            </a:r>
            <a:r>
              <a:rPr lang="da-DK" dirty="0"/>
              <a:t>Tast på radioen (anvend PTT)</a:t>
            </a:r>
          </a:p>
          <a:p>
            <a:pPr>
              <a:spcBef>
                <a:spcPts val="1800"/>
              </a:spcBef>
              <a:buFont typeface="+mj-lt"/>
              <a:buAutoNum type="arabicPeriod"/>
            </a:pPr>
            <a:r>
              <a:rPr lang="da-DK" b="1" u="sng" dirty="0"/>
              <a:t>T</a:t>
            </a:r>
            <a:r>
              <a:rPr lang="da-DK" b="1" dirty="0"/>
              <a:t>øv: 		</a:t>
            </a:r>
            <a:r>
              <a:rPr lang="da-DK" dirty="0"/>
              <a:t>Vent et splitsekund med at tale for at være sikker på, at hele meldingen når 					frem, da der kan være forsinkelse på radioen</a:t>
            </a:r>
          </a:p>
          <a:p>
            <a:pPr>
              <a:spcBef>
                <a:spcPts val="2200"/>
              </a:spcBef>
              <a:buFont typeface="+mj-lt"/>
              <a:buAutoNum type="arabicPeriod"/>
            </a:pPr>
            <a:r>
              <a:rPr lang="da-DK" b="1" u="sng" dirty="0"/>
              <a:t>T</a:t>
            </a:r>
            <a:r>
              <a:rPr lang="da-DK" b="1" dirty="0"/>
              <a:t>al: 		</a:t>
            </a:r>
            <a:r>
              <a:rPr lang="da-DK" dirty="0"/>
              <a:t>Afgiv din mel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095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F93F3547-A787-AB24-D18D-EBCD0A28F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Ekspeditionsord</a:t>
            </a:r>
          </a:p>
        </p:txBody>
      </p:sp>
      <p:sp>
        <p:nvSpPr>
          <p:cNvPr id="11" name="Pladsholder til indhold 10">
            <a:extLst>
              <a:ext uri="{FF2B5EF4-FFF2-40B4-BE49-F238E27FC236}">
                <a16:creationId xmlns:a16="http://schemas.microsoft.com/office/drawing/2014/main" id="{BEA0916D-CDF3-E8D6-D931-430DBD893AB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4469" y="1241550"/>
            <a:ext cx="9418519" cy="828719"/>
          </a:xfrm>
        </p:spPr>
        <p:txBody>
          <a:bodyPr/>
          <a:lstStyle/>
          <a:p>
            <a:pPr marL="0"/>
            <a:r>
              <a:rPr lang="da-DK" dirty="0"/>
              <a:t>Fælles ekspeditionsord letter samtalen over radioen samt sikrer genkendelig og præcis kommunikation.</a:t>
            </a:r>
            <a:endParaRPr lang="en-US" dirty="0"/>
          </a:p>
        </p:txBody>
      </p:sp>
      <p:pic>
        <p:nvPicPr>
          <p:cNvPr id="18" name="Billede 17" descr="Illustration: Ekspeditionsord:&#10;- Klar&#10;- Radiotavshed&#10;- Modtaget&#10;- Melding til alle&#10;- Slut">
            <a:extLst>
              <a:ext uri="{FF2B5EF4-FFF2-40B4-BE49-F238E27FC236}">
                <a16:creationId xmlns:a16="http://schemas.microsoft.com/office/drawing/2014/main" id="{94ACCBE0-1769-D236-D73F-E5BB20796E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709" y="1739446"/>
            <a:ext cx="8933498" cy="456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86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5759434E-145C-DFAE-31F4-07037A152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pkaldsprocedure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CC0CF232-65E0-FEE1-192F-4D0D2EC6D94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9405" y="1158527"/>
            <a:ext cx="5018938" cy="1460388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Et opkald begynder med:</a:t>
            </a:r>
          </a:p>
          <a:p>
            <a:r>
              <a:rPr lang="da-DK" dirty="0"/>
              <a:t>modtageren af meldingen nævnes to gange, </a:t>
            </a:r>
          </a:p>
          <a:p>
            <a:r>
              <a:rPr lang="da-DK" dirty="0"/>
              <a:t>derefter selve meldingen, </a:t>
            </a:r>
          </a:p>
          <a:p>
            <a:r>
              <a:rPr lang="da-DK" dirty="0"/>
              <a:t>så nævnes afsenderen en enkelt gang,</a:t>
            </a:r>
          </a:p>
          <a:p>
            <a:r>
              <a:rPr lang="da-DK" dirty="0"/>
              <a:t>og slutteligt skift/slut.</a:t>
            </a:r>
            <a:endParaRPr lang="en-US" dirty="0"/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73502E9A-00C4-3E01-1ED6-2D2DB05E3E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6141577"/>
              </p:ext>
            </p:extLst>
          </p:nvPr>
        </p:nvGraphicFramePr>
        <p:xfrm>
          <a:off x="4404164" y="2250744"/>
          <a:ext cx="7521134" cy="3888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0567">
                  <a:extLst>
                    <a:ext uri="{9D8B030D-6E8A-4147-A177-3AD203B41FA5}">
                      <a16:colId xmlns:a16="http://schemas.microsoft.com/office/drawing/2014/main" val="2681211624"/>
                    </a:ext>
                  </a:extLst>
                </a:gridCol>
                <a:gridCol w="3760567">
                  <a:extLst>
                    <a:ext uri="{9D8B030D-6E8A-4147-A177-3AD203B41FA5}">
                      <a16:colId xmlns:a16="http://schemas.microsoft.com/office/drawing/2014/main" val="93296811"/>
                    </a:ext>
                  </a:extLst>
                </a:gridCol>
              </a:tblGrid>
              <a:tr h="330697">
                <a:tc>
                  <a:txBody>
                    <a:bodyPr/>
                    <a:lstStyle/>
                    <a:p>
                      <a:r>
                        <a:rPr lang="da-DK" sz="14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kaldsprocedur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da-DK" sz="14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ksempel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68675159"/>
                  </a:ext>
                </a:extLst>
              </a:tr>
              <a:tr h="10600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ønsker at tale med ISL Bran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, ISL BRAND - 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MELDING/FORESPØRGSEL/POSITION) -</a:t>
                      </a: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L POLITI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21911319"/>
                  </a:ext>
                </a:extLst>
              </a:tr>
              <a:tr h="7785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svarer, at han/hun har hørt opkaldet og er klar til at modtage melding/meddele position osv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-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LAR</a:t>
                      </a: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- ISL BRAND -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21337081"/>
                  </a:ext>
                </a:extLst>
              </a:tr>
              <a:tr h="8154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afgiver nu sin meld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– </a:t>
                      </a:r>
                      <a:r>
                        <a:rPr lang="da-DK" sz="1400" b="0" i="1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ldingen afgives – </a:t>
                      </a: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-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0334002"/>
                  </a:ext>
                </a:extLst>
              </a:tr>
              <a:tr h="5729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kvitterer for melding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–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TAGET</a:t>
                      </a: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- ISL BRAND -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F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80991064"/>
                  </a:ext>
                </a:extLst>
              </a:tr>
              <a:tr h="330697">
                <a:tc>
                  <a:txBody>
                    <a:bodyPr/>
                    <a:lstStyle/>
                    <a:p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Politi afslutter opkaldet</a:t>
                      </a:r>
                      <a:endParaRPr lang="da-DK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L BRAND -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TAGET</a:t>
                      </a:r>
                      <a:r>
                        <a:rPr lang="da-DK" sz="1400" b="0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da-DK" sz="14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LUT </a:t>
                      </a:r>
                      <a:endParaRPr lang="da-DK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5165581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5554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73B24650-631B-D626-BB81-24B78839DD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468000"/>
            <a:ext cx="5340350" cy="720000"/>
          </a:xfrm>
        </p:spPr>
        <p:txBody>
          <a:bodyPr vert="horz"/>
          <a:lstStyle/>
          <a:p>
            <a:r>
              <a:rPr lang="da-DK" dirty="0"/>
              <a:t>Postkort-modellen</a:t>
            </a:r>
          </a:p>
        </p:txBody>
      </p:sp>
      <p:pic>
        <p:nvPicPr>
          <p:cNvPr id="21" name="Billede 20" descr="Illustration: Postkort-modellen:&#10;- 2 x modtager&#10;- Meddelelse&#10;- Afsender">
            <a:extLst>
              <a:ext uri="{FF2B5EF4-FFF2-40B4-BE49-F238E27FC236}">
                <a16:creationId xmlns:a16="http://schemas.microsoft.com/office/drawing/2014/main" id="{6039E184-9F69-DBD4-4D9B-9D636D0948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599" y="198389"/>
            <a:ext cx="10310653" cy="5971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887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A8579A4F-3D31-D7C5-B700-A1667E391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pkaldsprocedure</a:t>
            </a:r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5CCB4212-FA24-FFC7-2F75-0C359047A06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4469" y="1185943"/>
            <a:ext cx="11410829" cy="720001"/>
          </a:xfrm>
        </p:spPr>
        <p:txBody>
          <a:bodyPr/>
          <a:lstStyle/>
          <a:p>
            <a:pPr marL="0" indent="0"/>
            <a:r>
              <a:rPr lang="da-DK" dirty="0"/>
              <a:t>Et opkald begynder med, at modtageren af meldingen nævnes to gange, derefter selve meldingen, så nævnes afsenderen en enkelt gang, og slutteligt skift/slut.</a:t>
            </a:r>
            <a:endParaRPr lang="en-US" dirty="0"/>
          </a:p>
        </p:txBody>
      </p:sp>
      <p:pic>
        <p:nvPicPr>
          <p:cNvPr id="15" name="Billede 14" descr="Illustration: Opkaldsprocedure.&#10;ISL BRAND, ISL BRAND – melding - ISL POLITI skift&#10;ISL POLITI – klar – ISL BRAND – skift&#10;ISL BRAND –  vi er fremme ved indsatsområdet om 8 min. – ISL POLITI – skift&#10;ISL POLITI – modtaget – ISL BRAND – skift&#10;ISL BRAND - modtaget – slut">
            <a:extLst>
              <a:ext uri="{FF2B5EF4-FFF2-40B4-BE49-F238E27FC236}">
                <a16:creationId xmlns:a16="http://schemas.microsoft.com/office/drawing/2014/main" id="{25FAFFE5-D06F-687F-B993-DADC5A3FA4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767" y="2164801"/>
            <a:ext cx="7445505" cy="4369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270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903F37CA-F9DF-05D1-4766-2A1F4D9D8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ICAO-alfabetet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6F4202EA-6D3B-6882-1478-862E258AE3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4509" y="1541023"/>
            <a:ext cx="11532529" cy="1029104"/>
          </a:xfrm>
        </p:spPr>
        <p:txBody>
          <a:bodyPr/>
          <a:lstStyle/>
          <a:p>
            <a:pPr marL="0" indent="0">
              <a:spcBef>
                <a:spcPts val="2000"/>
              </a:spcBef>
            </a:pPr>
            <a:r>
              <a:rPr lang="da-DK" dirty="0"/>
              <a:t>Brugen af NATO’s fonetiske alfabet (ICAO) udelukker misforståelser om, hvilket bogstav der siges i meldingen.</a:t>
            </a:r>
          </a:p>
          <a:p>
            <a:pPr marL="0" indent="0">
              <a:spcBef>
                <a:spcPts val="2000"/>
              </a:spcBef>
            </a:pPr>
            <a:r>
              <a:rPr lang="da-DK" dirty="0"/>
              <a:t>Nummerpladen AI58237 siges således: ALFA INDIA 5-8-2-3-7</a:t>
            </a:r>
            <a:r>
              <a:rPr lang="da-DK" sz="1050" dirty="0"/>
              <a:t>.</a:t>
            </a:r>
            <a:endParaRPr lang="da-DK" sz="1100" dirty="0"/>
          </a:p>
        </p:txBody>
      </p:sp>
      <p:pic>
        <p:nvPicPr>
          <p:cNvPr id="6" name="Billede 5" descr="Illustration af ICAO-alfabetet.&#10;Kontakt Center for Beredskabskommunikation for en gennemgang">
            <a:extLst>
              <a:ext uri="{FF2B5EF4-FFF2-40B4-BE49-F238E27FC236}">
                <a16:creationId xmlns:a16="http://schemas.microsoft.com/office/drawing/2014/main" id="{456FCA5D-34C1-B84F-2994-8685E7F7F8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573" y="2928711"/>
            <a:ext cx="9337556" cy="296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447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3EE56AC4-A3FF-8F3C-719E-5B6840E57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Udtale af tal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C5E84AEC-862D-3568-0396-89837146115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4469" y="1590525"/>
            <a:ext cx="6773023" cy="142703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a-DK" dirty="0"/>
              <a:t>Udtal tal meget tydeligt, da de ellers kan være svære at fange over radioen.</a:t>
            </a:r>
          </a:p>
          <a:p>
            <a:pPr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a-DK" dirty="0"/>
              <a:t>Ved længere talkombinationer bør tallene udtales enkeltvist.</a:t>
            </a:r>
            <a:endParaRPr lang="en-US" dirty="0"/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F8D7F9B6-0503-C12F-CEC3-C337C60D35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531594"/>
              </p:ext>
            </p:extLst>
          </p:nvPr>
        </p:nvGraphicFramePr>
        <p:xfrm>
          <a:off x="7287492" y="449529"/>
          <a:ext cx="4553526" cy="61568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4127">
                  <a:extLst>
                    <a:ext uri="{9D8B030D-6E8A-4147-A177-3AD203B41FA5}">
                      <a16:colId xmlns:a16="http://schemas.microsoft.com/office/drawing/2014/main" val="1144890439"/>
                    </a:ext>
                  </a:extLst>
                </a:gridCol>
                <a:gridCol w="2669399">
                  <a:extLst>
                    <a:ext uri="{9D8B030D-6E8A-4147-A177-3AD203B41FA5}">
                      <a16:colId xmlns:a16="http://schemas.microsoft.com/office/drawing/2014/main" val="2139693327"/>
                    </a:ext>
                  </a:extLst>
                </a:gridCol>
              </a:tblGrid>
              <a:tr h="43265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l</a:t>
                      </a:r>
                      <a:endParaRPr lang="da-DK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tale</a:t>
                      </a:r>
                      <a:endParaRPr lang="da-DK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771242501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l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703011752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n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519511434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da-DK" sz="16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023814291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764388495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da-DK" sz="16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-r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558873773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da-DK" sz="16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m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693972247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ks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873889978"/>
                  </a:ext>
                </a:extLst>
              </a:tr>
              <a:tr h="45755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da-DK" sz="16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v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532675882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Åtte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175833075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jne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445736922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l </a:t>
                      </a:r>
                      <a:r>
                        <a:rPr lang="da-DK" sz="16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jn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933358731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da-DK" sz="1600" b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</a:t>
                      </a:r>
                      <a:endParaRPr lang="da-DK" sz="16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66100402"/>
                  </a:ext>
                </a:extLst>
              </a:tr>
              <a:tr h="4388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da-DK" sz="16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n nul tre</a:t>
                      </a:r>
                      <a:endParaRPr lang="da-DK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9033476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1939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CB80B9C9-8E0B-789E-FD17-4C0DB26AF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Taleteknik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189AE0DC-D9DA-813F-0EE6-DB953959FF7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4450" y="1585993"/>
            <a:ext cx="10698174" cy="3688007"/>
          </a:xfrm>
        </p:spPr>
        <p:txBody>
          <a:bodyPr/>
          <a:lstStyle/>
          <a:p>
            <a:pPr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a-DK" dirty="0"/>
              <a:t>Tal tydeligt</a:t>
            </a:r>
          </a:p>
          <a:p>
            <a:pPr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a-DK" dirty="0"/>
              <a:t>Hold den naturlige rytme du har i daglig tale.</a:t>
            </a:r>
          </a:p>
          <a:p>
            <a:pPr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a-DK" dirty="0"/>
              <a:t>Tal jævnt og roligt.</a:t>
            </a:r>
          </a:p>
          <a:p>
            <a:pPr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a-DK" dirty="0"/>
              <a:t>Sænk ikke stemmen på den sidste del af meldingen.</a:t>
            </a:r>
          </a:p>
          <a:p>
            <a:pPr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a-DK" dirty="0"/>
              <a:t>Formulér dig kort og præcist.</a:t>
            </a:r>
          </a:p>
          <a:p>
            <a:pPr>
              <a:spcBef>
                <a:spcPts val="2000"/>
              </a:spcBef>
              <a:buFont typeface="Arial" panose="020B0604020202020204" pitchFamily="34" charset="0"/>
              <a:buChar char="•"/>
            </a:pPr>
            <a:r>
              <a:rPr lang="da-DK" dirty="0"/>
              <a:t>Gør ophold mellem sætninger eller udtryk, når meldingen skal skrives n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056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4b554a99-d9b4-4048-b584-de0a450a8ca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Politi">
      <a:dk1>
        <a:srgbClr val="000000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BRS_CF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abelon PPT" id="{B15E92C6-FB5F-40D6-93E9-8810EEC208F9}" vid="{7D11487F-520A-45BE-B143-7AA189E7C150}"/>
    </a:ext>
  </a:extLst>
</a:theme>
</file>

<file path=ppt/theme/theme2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7BB9BBC28A004898F5D99B0C997917" ma:contentTypeVersion="16" ma:contentTypeDescription="Create a new document." ma:contentTypeScope="" ma:versionID="89b1884c4f690ab48ee89b70eadef1ac">
  <xsd:schema xmlns:xsd="http://www.w3.org/2001/XMLSchema" xmlns:xs="http://www.w3.org/2001/XMLSchema" xmlns:p="http://schemas.microsoft.com/office/2006/metadata/properties" xmlns:ns2="1616dde6-71bf-4cfb-9871-007fe6400b8b" xmlns:ns3="7aade10d-a3e9-471e-92b7-f7367a55363c" targetNamespace="http://schemas.microsoft.com/office/2006/metadata/properties" ma:root="true" ma:fieldsID="89b4da2994c297867582948853f56774" ns2:_="" ns3:_="">
    <xsd:import namespace="1616dde6-71bf-4cfb-9871-007fe6400b8b"/>
    <xsd:import namespace="7aade10d-a3e9-471e-92b7-f7367a5536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6dde6-71bf-4cfb-9871-007fe6400b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b95a8ba-7087-42bd-bee5-ebff083419ef}" ma:internalName="TaxCatchAll" ma:showField="CatchAllData" ma:web="1616dde6-71bf-4cfb-9871-007fe6400b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ade10d-a3e9-471e-92b7-f7367a5536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845874f-449b-4218-ab9f-5cc441e389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16dde6-71bf-4cfb-9871-007fe6400b8b">
      <Value>49</Value>
      <Value>1144</Value>
      <Value>1039</Value>
      <Value>5</Value>
      <Value>20</Value>
      <Value>19</Value>
    </TaxCatchAll>
    <lcf76f155ced4ddcb4097134ff3c332f xmlns="7aade10d-a3e9-471e-92b7-f7367a55363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B262413-6C41-42E7-BCFF-1727ABFDCC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16dde6-71bf-4cfb-9871-007fe6400b8b"/>
    <ds:schemaRef ds:uri="7aade10d-a3e9-471e-92b7-f7367a5536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F79E579-1264-4B45-93F4-DF6C7620E44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940888-F264-4FB1-ADE3-E091525F4FC3}">
  <ds:schemaRefs>
    <ds:schemaRef ds:uri="http://schemas.microsoft.com/office/2006/documentManagement/types"/>
    <ds:schemaRef ds:uri="http://schemas.microsoft.com/office/2006/metadata/properties"/>
    <ds:schemaRef ds:uri="7aade10d-a3e9-471e-92b7-f7367a55363c"/>
    <ds:schemaRef ds:uri="http://purl.org/dc/elements/1.1/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1616dde6-71bf-4cfb-9871-007fe6400b8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S_CFB_PPT Skabelon_16-9_DA</Template>
  <TotalTime>91</TotalTime>
  <Words>446</Words>
  <Application>Microsoft Office PowerPoint</Application>
  <PresentationFormat>Widescreen</PresentationFormat>
  <Paragraphs>8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Verdana</vt:lpstr>
      <vt:lpstr>Office-tema</vt:lpstr>
      <vt:lpstr>think-cell Slide</vt:lpstr>
      <vt:lpstr>Fælles radiosprog og  god radiodisciplin</vt:lpstr>
      <vt:lpstr>Radiodisciplin</vt:lpstr>
      <vt:lpstr>Ekspeditionsord</vt:lpstr>
      <vt:lpstr>Opkaldsprocedure</vt:lpstr>
      <vt:lpstr>Postkort-modellen</vt:lpstr>
      <vt:lpstr>Opkaldsprocedure</vt:lpstr>
      <vt:lpstr>ICAO-alfabetet</vt:lpstr>
      <vt:lpstr>Udtale af tal</vt:lpstr>
      <vt:lpstr>Taleteknik</vt:lpstr>
      <vt:lpstr>Undervisningsmateria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ælles radiosprog og god radiodisciplin</dc:title>
  <dc:creator>Krog-Meyer, Flemming (FKR007)</dc:creator>
  <cp:revision>29</cp:revision>
  <dcterms:created xsi:type="dcterms:W3CDTF">2025-12-12T10:27:04Z</dcterms:created>
  <dcterms:modified xsi:type="dcterms:W3CDTF">2026-03-10T10:4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7BB9BBC28A004898F5D99B0C997917</vt:lpwstr>
  </property>
  <property fmtid="{D5CDD505-2E9C-101B-9397-08002B2CF9AE}" pid="3" name="Dokumenttype">
    <vt:lpwstr>20;#Blanket|aa561898-09ad-4bd8-b836-e9f30e861c33</vt:lpwstr>
  </property>
  <property fmtid="{D5CDD505-2E9C-101B-9397-08002B2CF9AE}" pid="4" name="PolitiSøgeord">
    <vt:lpwstr>49;#design|afeaf068-e141-4d9e-8694-2bf837bff27e;#1144;#powerpoint|46b1aabe-d694-4bab-8652-422dace1866f;#1039;#præsentation|46089da0-0b69-472b-a1a5-07c936daea85</vt:lpwstr>
  </property>
  <property fmtid="{D5CDD505-2E9C-101B-9397-08002B2CF9AE}" pid="5" name="RpchPolitikreds">
    <vt:lpwstr>19;#Rigspolitiet|4d255f1e-8d17-4deb-8f3b-fde0ed8a3164</vt:lpwstr>
  </property>
  <property fmtid="{D5CDD505-2E9C-101B-9397-08002B2CF9AE}" pid="6" name="PolitiEmneord">
    <vt:lpwstr>5;#Kommunikation|3a35817f-d49a-41a1-8d4f-b9d981a83b1d</vt:lpwstr>
  </property>
</Properties>
</file>